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011FA410-8B60-4CE6-AFD2-8B16BB03B61B}">
          <p14:sldIdLst>
            <p14:sldId id="2147475173"/>
            <p14:sldId id="2147475174"/>
            <p14:sldId id="2147475175"/>
            <p14:sldId id="2147475176"/>
            <p14:sldId id="2147475177"/>
            <p14:sldId id="2147475178"/>
            <p14:sldId id="2147475179"/>
            <p14:sldId id="2147475180"/>
            <p14:sldId id="2147475181"/>
          </p14:sldIdLst>
        </p14:section>
        <p14:section name="Brackets By Segment" id="{7E53E2AA-3A1A-4139-B53D-FC4BC14CC56A}">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582989958646008</c:v>
                </c:pt>
                <c:pt idx="1">
                  <c:v>0.0019929855107430334</c:v>
                </c:pt>
                <c:pt idx="2">
                  <c:v>0.0030582896948437768</c:v>
                </c:pt>
                <c:pt idx="3">
                  <c:v>0.007207132777929085</c:v>
                </c:pt>
                <c:pt idx="4">
                  <c:v>0.014674730551045772</c:v>
                </c:pt>
                <c:pt idx="5">
                  <c:v>0.010793761029072564</c:v>
                </c:pt>
                <c:pt idx="6">
                  <c:v>0.006098648371388458</c:v>
                </c:pt>
                <c:pt idx="7">
                  <c:v>0.02470817596077515</c:v>
                </c:pt>
                <c:pt idx="8">
                  <c:v>0.014742864129153944</c:v>
                </c:pt>
                <c:pt idx="9">
                  <c:v>0.0038078260263252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56244764193211</c:v>
                </c:pt>
                <c:pt idx="3">
                  <c:v>0.0006089198776111931</c:v>
                </c:pt>
                <c:pt idx="4">
                  <c:v>0.0008840231951314473</c:v>
                </c:pt>
                <c:pt idx="5">
                  <c:v>0.0023583031058826112</c:v>
                </c:pt>
                <c:pt idx="7">
                  <c:v>0.005723387666707241</c:v>
                </c:pt>
                <c:pt idx="8">
                  <c:v>0.005597877040777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4289253645925226</c:v>
                </c:pt>
                <c:pt idx="2">
                  <c:v>0.0008711820709921701</c:v>
                </c:pt>
                <c:pt idx="3">
                  <c:v>0.006588547433188905</c:v>
                </c:pt>
                <c:pt idx="4">
                  <c:v>0.0027251337546386803</c:v>
                </c:pt>
                <c:pt idx="5">
                  <c:v>0.002421322731823311</c:v>
                </c:pt>
                <c:pt idx="6">
                  <c:v>0.02052761141927378</c:v>
                </c:pt>
                <c:pt idx="7">
                  <c:v>0.01641177202139083</c:v>
                </c:pt>
                <c:pt idx="8">
                  <c:v>0.03446682950665092</c:v>
                </c:pt>
                <c:pt idx="9">
                  <c:v>0.016359717645208844</c:v>
                </c:pt>
                <c:pt idx="10">
                  <c:v>0.01182076096369005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543862473400580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992158149357658</c:v>
                </c:pt>
                <c:pt idx="1">
                  <c:v>0.004806685894584969</c:v>
                </c:pt>
                <c:pt idx="2">
                  <c:v>0.005318270974527762</c:v>
                </c:pt>
                <c:pt idx="3">
                  <c:v>0.012028829568857128</c:v>
                </c:pt>
                <c:pt idx="4">
                  <c:v>0.021067431497172114</c:v>
                </c:pt>
                <c:pt idx="5">
                  <c:v>0.02707223608286765</c:v>
                </c:pt>
                <c:pt idx="6">
                  <c:v>0.031719451197962475</c:v>
                </c:pt>
                <c:pt idx="7">
                  <c:v>0.055353638684090316</c:v>
                </c:pt>
                <c:pt idx="8">
                  <c:v>0.05732882842155025</c:v>
                </c:pt>
                <c:pt idx="9">
                  <c:v>0.014509223162283815</c:v>
                </c:pt>
                <c:pt idx="10">
                  <c:v>0.06183574633903851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969365147508275</c:v>
                </c:pt>
                <c:pt idx="1">
                  <c:v>0.003465910370468512</c:v>
                </c:pt>
                <c:pt idx="2">
                  <c:v>0.0021370962276709136</c:v>
                </c:pt>
                <c:pt idx="3">
                  <c:v>0.0026910767188309402</c:v>
                </c:pt>
                <c:pt idx="4">
                  <c:v>0.0052493337289206705</c:v>
                </c:pt>
                <c:pt idx="5">
                  <c:v>0.028457316053619487</c:v>
                </c:pt>
                <c:pt idx="6">
                  <c:v>0.025960409563912427</c:v>
                </c:pt>
                <c:pt idx="7">
                  <c:v>0.029847552240606295</c:v>
                </c:pt>
                <c:pt idx="8">
                  <c:v>0.050437713179346894</c:v>
                </c:pt>
                <c:pt idx="9">
                  <c:v>0.0358818831540736</c:v>
                </c:pt>
                <c:pt idx="10">
                  <c:v>0.00393984206756754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32825860438789</c:v>
                </c:pt>
                <c:pt idx="1">
                  <c:v>0.0030734663963747338</c:v>
                </c:pt>
                <c:pt idx="2">
                  <c:v>0.0055593660224720065</c:v>
                </c:pt>
                <c:pt idx="3">
                  <c:v>0.002708529177842654</c:v>
                </c:pt>
                <c:pt idx="4">
                  <c:v>0.006582276746004785</c:v>
                </c:pt>
                <c:pt idx="5">
                  <c:v>0.009500095635457046</c:v>
                </c:pt>
                <c:pt idx="6">
                  <c:v>0.018979275109016668</c:v>
                </c:pt>
                <c:pt idx="7">
                  <c:v>0.021579141418668134</c:v>
                </c:pt>
                <c:pt idx="8">
                  <c:v>0.048597555837115884</c:v>
                </c:pt>
                <c:pt idx="9">
                  <c:v>0.00936333691562485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116832535196467</c:v>
                </c:pt>
                <c:pt idx="1">
                  <c:v>0.002014613009407302</c:v>
                </c:pt>
                <c:pt idx="2">
                  <c:v>0.0005248273876151061</c:v>
                </c:pt>
                <c:pt idx="3">
                  <c:v>0.0010237020369196592</c:v>
                </c:pt>
                <c:pt idx="4">
                  <c:v>0.0018663851220885206</c:v>
                </c:pt>
                <c:pt idx="5">
                  <c:v>0.005717654708505003</c:v>
                </c:pt>
                <c:pt idx="6">
                  <c:v>0.009402583328705147</c:v>
                </c:pt>
                <c:pt idx="7">
                  <c:v>0.0031530418328797297</c:v>
                </c:pt>
                <c:pt idx="8">
                  <c:v>0.0010420062794455993</c:v>
                </c:pt>
                <c:pt idx="9">
                  <c:v>0.00064266806061797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921549756512968</c:v>
                </c:pt>
                <c:pt idx="3">
                  <c:v>0.0005079308636451198</c:v>
                </c:pt>
                <c:pt idx="4">
                  <c:v>0.0019638779223477283</c:v>
                </c:pt>
                <c:pt idx="5">
                  <c:v>0.0012101320897432738</c:v>
                </c:pt>
                <c:pt idx="6">
                  <c:v>0.003893893873814638</c:v>
                </c:pt>
                <c:pt idx="7">
                  <c:v>0.004807689178525772</c:v>
                </c:pt>
                <c:pt idx="8">
                  <c:v>0.0028679212811456066</c:v>
                </c:pt>
                <c:pt idx="9">
                  <c:v>0.000904911397722681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817840100762583</c:v>
                </c:pt>
                <c:pt idx="1">
                  <c:v>0.004710079937720061</c:v>
                </c:pt>
                <c:pt idx="2">
                  <c:v>0.0035365833603226166</c:v>
                </c:pt>
                <c:pt idx="3">
                  <c:v>0.011215191341785913</c:v>
                </c:pt>
                <c:pt idx="4">
                  <c:v>0.017157682031308918</c:v>
                </c:pt>
                <c:pt idx="5">
                  <c:v>0.010345007324616792</c:v>
                </c:pt>
                <c:pt idx="6">
                  <c:v>0.009931055360339294</c:v>
                </c:pt>
                <c:pt idx="7">
                  <c:v>0.020310265934079454</c:v>
                </c:pt>
                <c:pt idx="8">
                  <c:v>0.01935877735368818</c:v>
                </c:pt>
                <c:pt idx="9">
                  <c:v>0.002172927183804752</c:v>
                </c:pt>
                <c:pt idx="10">
                  <c:v>0.00117480482808500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8805964401529397</c:v>
                </c:pt>
                <c:pt idx="3">
                  <c:v>0.003305048724703075</c:v>
                </c:pt>
                <c:pt idx="4">
                  <c:v>0.0017550118633459153</c:v>
                </c:pt>
                <c:pt idx="5">
                  <c:v>0.0021578329734128375</c:v>
                </c:pt>
                <c:pt idx="6">
                  <c:v>0.0018049141207200374</c:v>
                </c:pt>
                <c:pt idx="7">
                  <c:v>0.0053919616428104505</c:v>
                </c:pt>
                <c:pt idx="8">
                  <c:v>0.00640205556465802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499321807132914</c:v>
                </c:pt>
                <c:pt idx="2">
                  <c:v>0.0005661808721516262</c:v>
                </c:pt>
                <c:pt idx="3">
                  <c:v>0.008233353455801668</c:v>
                </c:pt>
                <c:pt idx="4">
                  <c:v>0.003160767975924207</c:v>
                </c:pt>
                <c:pt idx="5">
                  <c:v>0.008278820528877627</c:v>
                </c:pt>
                <c:pt idx="6">
                  <c:v>0.015554706055243884</c:v>
                </c:pt>
                <c:pt idx="7">
                  <c:v>0.03108971543128354</c:v>
                </c:pt>
                <c:pt idx="8">
                  <c:v>0.031262224369488154</c:v>
                </c:pt>
                <c:pt idx="9">
                  <c:v>0.0201649042699784</c:v>
                </c:pt>
                <c:pt idx="10">
                  <c:v>0.00539903477521632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579422084848369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41326002405482</c:v>
                </c:pt>
                <c:pt idx="1">
                  <c:v>0.0061713187474905715</c:v>
                </c:pt>
                <c:pt idx="2">
                  <c:v>0.016758228058257527</c:v>
                </c:pt>
                <c:pt idx="3">
                  <c:v>0.013772482577596659</c:v>
                </c:pt>
                <c:pt idx="4">
                  <c:v>0.012019049193768852</c:v>
                </c:pt>
                <c:pt idx="5">
                  <c:v>0.04236039804895471</c:v>
                </c:pt>
                <c:pt idx="6">
                  <c:v>0.05128419903484042</c:v>
                </c:pt>
                <c:pt idx="7">
                  <c:v>0.056442138221051694</c:v>
                </c:pt>
                <c:pt idx="8">
                  <c:v>0.055836186527998155</c:v>
                </c:pt>
                <c:pt idx="9">
                  <c:v>0.06736591564984633</c:v>
                </c:pt>
                <c:pt idx="10">
                  <c:v>0.015904094775753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95100899713595</c:v>
                </c:pt>
                <c:pt idx="1">
                  <c:v>0.004337846157663012</c:v>
                </c:pt>
                <c:pt idx="2">
                  <c:v>0.003410356471032117</c:v>
                </c:pt>
                <c:pt idx="3">
                  <c:v>0.0036764375034963534</c:v>
                </c:pt>
                <c:pt idx="4">
                  <c:v>0.012088339297398006</c:v>
                </c:pt>
                <c:pt idx="5">
                  <c:v>0.03054474966700302</c:v>
                </c:pt>
                <c:pt idx="6">
                  <c:v>0.02695129815056332</c:v>
                </c:pt>
                <c:pt idx="7">
                  <c:v>0.03765168212342693</c:v>
                </c:pt>
                <c:pt idx="8">
                  <c:v>0.05217987463835769</c:v>
                </c:pt>
                <c:pt idx="9">
                  <c:v>0.03258373342713391</c:v>
                </c:pt>
                <c:pt idx="10">
                  <c:v>0.00117823630529828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915430566361968</c:v>
                </c:pt>
                <c:pt idx="1">
                  <c:v>0.025515726790348144</c:v>
                </c:pt>
                <c:pt idx="2">
                  <c:v>0.03199740978374033</c:v>
                </c:pt>
                <c:pt idx="3">
                  <c:v>0.0411103752403546</c:v>
                </c:pt>
                <c:pt idx="4">
                  <c:v>0.05793075164029115</c:v>
                </c:pt>
                <c:pt idx="5">
                  <c:v>0.11068370870934567</c:v>
                </c:pt>
                <c:pt idx="6">
                  <c:v>0.13434203264565014</c:v>
                </c:pt>
                <c:pt idx="7">
                  <c:v>0.17805870919511416</c:v>
                </c:pt>
                <c:pt idx="8">
                  <c:v>0.1872343763191081</c:v>
                </c:pt>
                <c:pt idx="9">
                  <c:v>0.136610462129647</c:v>
                </c:pt>
                <c:pt idx="10">
                  <c:v>0.0253689024590849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069135824413645</c:v>
                </c:pt>
                <c:pt idx="1">
                  <c:v>0.0062330638905970254</c:v>
                </c:pt>
                <c:pt idx="2">
                  <c:v>0.005536268127668419</c:v>
                </c:pt>
                <c:pt idx="3">
                  <c:v>0.003436886079237287</c:v>
                </c:pt>
                <c:pt idx="4">
                  <c:v>0.009653903524515712</c:v>
                </c:pt>
                <c:pt idx="5">
                  <c:v>0.01146692879949864</c:v>
                </c:pt>
                <c:pt idx="6">
                  <c:v>0.02459410064040544</c:v>
                </c:pt>
                <c:pt idx="7">
                  <c:v>0.030474623140803125</c:v>
                </c:pt>
                <c:pt idx="8">
                  <c:v>0.026328978311202435</c:v>
                </c:pt>
                <c:pt idx="9">
                  <c:v>0.013911774816376721</c:v>
                </c:pt>
                <c:pt idx="10">
                  <c:v>0.001712731774731790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8805964401529397</c:v>
                </c:pt>
                <c:pt idx="3">
                  <c:v>0.003305048724703075</c:v>
                </c:pt>
                <c:pt idx="4">
                  <c:v>0.0017550118633459153</c:v>
                </c:pt>
                <c:pt idx="5">
                  <c:v>0.0021578329734128375</c:v>
                </c:pt>
                <c:pt idx="6">
                  <c:v>0.0023843362055684073</c:v>
                </c:pt>
                <c:pt idx="7">
                  <c:v>0.0057335995141645935</c:v>
                </c:pt>
                <c:pt idx="8">
                  <c:v>0.00679725021661843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929565669634046</c:v>
                </c:pt>
                <c:pt idx="2">
                  <c:v>0.0009490056377891685</c:v>
                </c:pt>
                <c:pt idx="3">
                  <c:v>0.012094304471257433</c:v>
                </c:pt>
                <c:pt idx="4">
                  <c:v>0.005963595396304047</c:v>
                </c:pt>
                <c:pt idx="5">
                  <c:v>0.005907662121520895</c:v>
                </c:pt>
                <c:pt idx="6">
                  <c:v>0.0009479033957006248</c:v>
                </c:pt>
                <c:pt idx="7">
                  <c:v>0.012339128972754325</c:v>
                </c:pt>
                <c:pt idx="8">
                  <c:v>0.009068140151238913</c:v>
                </c:pt>
                <c:pt idx="9">
                  <c:v>0.0044199632190081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929565669634046</c:v>
                </c:pt>
                <c:pt idx="5">
                  <c:v>0.002810932262993805</c:v>
                </c:pt>
                <c:pt idx="7">
                  <c:v>0.0034926827727842155</c:v>
                </c:pt>
                <c:pt idx="8">
                  <c:v>0.003320647583209529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024350980224578</c:v>
                </c:pt>
                <c:pt idx="4">
                  <c:v>0.0019629085341465713</c:v>
                </c:pt>
                <c:pt idx="5">
                  <c:v>0.007768676641397261</c:v>
                </c:pt>
                <c:pt idx="6">
                  <c:v>0.008793505512457354</c:v>
                </c:pt>
                <c:pt idx="7">
                  <c:v>0.008585843102975714</c:v>
                </c:pt>
                <c:pt idx="8">
                  <c:v>0.023134697413948545</c:v>
                </c:pt>
                <c:pt idx="9">
                  <c:v>0.007178343334825448</c:v>
                </c:pt>
                <c:pt idx="10">
                  <c:v>0.00674146417182069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25264271840896</c:v>
                </c:pt>
                <c:pt idx="1">
                  <c:v>0.0009961319982848562</c:v>
                </c:pt>
                <c:pt idx="2">
                  <c:v>0.0036209065949445087</c:v>
                </c:pt>
                <c:pt idx="3">
                  <c:v>0.013998306432587005</c:v>
                </c:pt>
                <c:pt idx="4">
                  <c:v>0.004027620147591043</c:v>
                </c:pt>
                <c:pt idx="5">
                  <c:v>0.018349131516591285</c:v>
                </c:pt>
                <c:pt idx="6">
                  <c:v>0.01957001618794065</c:v>
                </c:pt>
                <c:pt idx="7">
                  <c:v>0.030510022432417645</c:v>
                </c:pt>
                <c:pt idx="8">
                  <c:v>0.022754076687143063</c:v>
                </c:pt>
                <c:pt idx="9">
                  <c:v>0.01942847177014031</c:v>
                </c:pt>
                <c:pt idx="10">
                  <c:v>0.02075239127632152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31836619340219</c:v>
                </c:pt>
                <c:pt idx="2">
                  <c:v>0.001591815096428842</c:v>
                </c:pt>
                <c:pt idx="3">
                  <c:v>0.006435589675724803</c:v>
                </c:pt>
                <c:pt idx="4">
                  <c:v>0.0140854118527152</c:v>
                </c:pt>
                <c:pt idx="5">
                  <c:v>0.0036704796011847963</c:v>
                </c:pt>
                <c:pt idx="6">
                  <c:v>0.003448342923783125</c:v>
                </c:pt>
                <c:pt idx="7">
                  <c:v>0.0050893010632526514</c:v>
                </c:pt>
                <c:pt idx="8">
                  <c:v>0.00796461302849714</c:v>
                </c:pt>
                <c:pt idx="9">
                  <c:v>0.00068222056346520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25309077981795</c:v>
                </c:pt>
                <c:pt idx="3">
                  <c:v>0.0019001303359935625</c:v>
                </c:pt>
                <c:pt idx="4">
                  <c:v>0.008334617330549602</c:v>
                </c:pt>
                <c:pt idx="5">
                  <c:v>0.018052336300619556</c:v>
                </c:pt>
                <c:pt idx="6">
                  <c:v>0.01096801697155211</c:v>
                </c:pt>
                <c:pt idx="7">
                  <c:v>0.024075535437861607</c:v>
                </c:pt>
                <c:pt idx="8">
                  <c:v>0.02281784414757054</c:v>
                </c:pt>
                <c:pt idx="9">
                  <c:v>0.0178313064502091</c:v>
                </c:pt>
                <c:pt idx="10">
                  <c:v>0.00487914625067462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945034355990329</c:v>
                </c:pt>
                <c:pt idx="1">
                  <c:v>0.0006637068068009494</c:v>
                </c:pt>
                <c:pt idx="2">
                  <c:v>0.0014195279849414993</c:v>
                </c:pt>
                <c:pt idx="3">
                  <c:v>0.0005785255381982891</c:v>
                </c:pt>
                <c:pt idx="4">
                  <c:v>0.003898792847887271</c:v>
                </c:pt>
                <c:pt idx="5">
                  <c:v>0.006544157326760921</c:v>
                </c:pt>
                <c:pt idx="6">
                  <c:v>0.01517501324102754</c:v>
                </c:pt>
                <c:pt idx="7">
                  <c:v>0.010645473380391998</c:v>
                </c:pt>
                <c:pt idx="8">
                  <c:v>0.024462844018539327</c:v>
                </c:pt>
                <c:pt idx="9">
                  <c:v>0.00582335162416818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354561836242731</c:v>
                </c:pt>
                <c:pt idx="3">
                  <c:v>0.0006132599420135237</c:v>
                </c:pt>
                <c:pt idx="4">
                  <c:v>0.0017840421992281357</c:v>
                </c:pt>
                <c:pt idx="5">
                  <c:v>0.0034636194045145384</c:v>
                </c:pt>
                <c:pt idx="6">
                  <c:v>0.002545167917419802</c:v>
                </c:pt>
                <c:pt idx="7">
                  <c:v>0.003387845772137599</c:v>
                </c:pt>
                <c:pt idx="8">
                  <c:v>0.00065691423993029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71979789509513</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582989958646008</c:v>
                </c:pt>
                <c:pt idx="1">
                  <c:v>0.0019929855107430334</c:v>
                </c:pt>
                <c:pt idx="2">
                  <c:v>0.0030582896948437768</c:v>
                </c:pt>
                <c:pt idx="3">
                  <c:v>0.007207132777929085</c:v>
                </c:pt>
                <c:pt idx="4">
                  <c:v>0.014674730551045772</c:v>
                </c:pt>
                <c:pt idx="5">
                  <c:v>0.010793761029072564</c:v>
                </c:pt>
                <c:pt idx="6">
                  <c:v>0.006098648371388458</c:v>
                </c:pt>
                <c:pt idx="7">
                  <c:v>0.02470817596077515</c:v>
                </c:pt>
                <c:pt idx="8">
                  <c:v>0.014742864129153944</c:v>
                </c:pt>
                <c:pt idx="9">
                  <c:v>0.0038078260263252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257412365626721</c:v>
                </c:pt>
                <c:pt idx="4">
                  <c:v>0.0034856073765726758</c:v>
                </c:pt>
                <c:pt idx="5">
                  <c:v>0.0036788198369053695</c:v>
                </c:pt>
                <c:pt idx="6">
                  <c:v>0.0020020644826584076</c:v>
                </c:pt>
                <c:pt idx="7">
                  <c:v>0.006249694296684839</c:v>
                </c:pt>
                <c:pt idx="8">
                  <c:v>0.001583417436931193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4289253645925226</c:v>
                </c:pt>
                <c:pt idx="2">
                  <c:v>0.0008711820709921701</c:v>
                </c:pt>
                <c:pt idx="3">
                  <c:v>0.006588547433188905</c:v>
                </c:pt>
                <c:pt idx="4">
                  <c:v>0.0027251337546386803</c:v>
                </c:pt>
                <c:pt idx="5">
                  <c:v>0.002421322731823311</c:v>
                </c:pt>
                <c:pt idx="6">
                  <c:v>0.02052761141927378</c:v>
                </c:pt>
                <c:pt idx="7">
                  <c:v>0.01641177202139083</c:v>
                </c:pt>
                <c:pt idx="8">
                  <c:v>0.03446682950665092</c:v>
                </c:pt>
                <c:pt idx="9">
                  <c:v>0.016359717645208844</c:v>
                </c:pt>
                <c:pt idx="10">
                  <c:v>0.01182076096369005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992158149357658</c:v>
                </c:pt>
                <c:pt idx="1">
                  <c:v>0.004806685894584969</c:v>
                </c:pt>
                <c:pt idx="2">
                  <c:v>0.005318270974527762</c:v>
                </c:pt>
                <c:pt idx="3">
                  <c:v>0.012028829568857128</c:v>
                </c:pt>
                <c:pt idx="4">
                  <c:v>0.021067431497172114</c:v>
                </c:pt>
                <c:pt idx="5">
                  <c:v>0.02707223608286765</c:v>
                </c:pt>
                <c:pt idx="6">
                  <c:v>0.031719451197962475</c:v>
                </c:pt>
                <c:pt idx="7">
                  <c:v>0.055353638684090316</c:v>
                </c:pt>
                <c:pt idx="8">
                  <c:v>0.05732882842155025</c:v>
                </c:pt>
                <c:pt idx="9">
                  <c:v>0.014509223162283815</c:v>
                </c:pt>
                <c:pt idx="10">
                  <c:v>0.06183574633903851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969365147508275</c:v>
                </c:pt>
                <c:pt idx="1">
                  <c:v>0.003465910370468512</c:v>
                </c:pt>
                <c:pt idx="2">
                  <c:v>0.0021370962276709136</c:v>
                </c:pt>
                <c:pt idx="3">
                  <c:v>0.0026910767188309402</c:v>
                </c:pt>
                <c:pt idx="4">
                  <c:v>0.0052493337289206705</c:v>
                </c:pt>
                <c:pt idx="5">
                  <c:v>0.028457316053619487</c:v>
                </c:pt>
                <c:pt idx="6">
                  <c:v>0.025960409563912427</c:v>
                </c:pt>
                <c:pt idx="7">
                  <c:v>0.029847552240606295</c:v>
                </c:pt>
                <c:pt idx="8">
                  <c:v>0.050437713179346894</c:v>
                </c:pt>
                <c:pt idx="9">
                  <c:v>0.0358818831540736</c:v>
                </c:pt>
                <c:pt idx="10">
                  <c:v>0.00393984206756754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32825860438789</c:v>
                </c:pt>
                <c:pt idx="1">
                  <c:v>0.0030734663963747338</c:v>
                </c:pt>
                <c:pt idx="2">
                  <c:v>0.0055593660224720065</c:v>
                </c:pt>
                <c:pt idx="3">
                  <c:v>0.002708529177842654</c:v>
                </c:pt>
                <c:pt idx="4">
                  <c:v>0.006582276746004785</c:v>
                </c:pt>
                <c:pt idx="5">
                  <c:v>0.009500095635457046</c:v>
                </c:pt>
                <c:pt idx="6">
                  <c:v>0.018979275109016668</c:v>
                </c:pt>
                <c:pt idx="7">
                  <c:v>0.021579141418668134</c:v>
                </c:pt>
                <c:pt idx="8">
                  <c:v>0.048597555837115884</c:v>
                </c:pt>
                <c:pt idx="9">
                  <c:v>0.00936333691562485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116832535196467</c:v>
                </c:pt>
                <c:pt idx="1">
                  <c:v>0.002014613009407302</c:v>
                </c:pt>
                <c:pt idx="2">
                  <c:v>0.0005248273876151061</c:v>
                </c:pt>
                <c:pt idx="3">
                  <c:v>0.0010237020369196592</c:v>
                </c:pt>
                <c:pt idx="4">
                  <c:v>0.0018663851220885206</c:v>
                </c:pt>
                <c:pt idx="5">
                  <c:v>0.005717654708505003</c:v>
                </c:pt>
                <c:pt idx="6">
                  <c:v>0.009402583328705147</c:v>
                </c:pt>
                <c:pt idx="7">
                  <c:v>0.0031530418328797297</c:v>
                </c:pt>
                <c:pt idx="8">
                  <c:v>0.0010420062794455993</c:v>
                </c:pt>
                <c:pt idx="9">
                  <c:v>0.00064266806061797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921549756512968</c:v>
                </c:pt>
                <c:pt idx="3">
                  <c:v>0.0005079308636451198</c:v>
                </c:pt>
                <c:pt idx="4">
                  <c:v>0.0019638779223477283</c:v>
                </c:pt>
                <c:pt idx="5">
                  <c:v>0.0012101320897432738</c:v>
                </c:pt>
                <c:pt idx="6">
                  <c:v>0.003893893873814638</c:v>
                </c:pt>
                <c:pt idx="7">
                  <c:v>0.004807689178525772</c:v>
                </c:pt>
                <c:pt idx="8">
                  <c:v>0.0028679212811456066</c:v>
                </c:pt>
                <c:pt idx="9">
                  <c:v>0.000904911397722681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817840100762583</c:v>
                </c:pt>
                <c:pt idx="1">
                  <c:v>0.004710079937720061</c:v>
                </c:pt>
                <c:pt idx="2">
                  <c:v>0.0035365833603226166</c:v>
                </c:pt>
                <c:pt idx="3">
                  <c:v>0.011215191341785913</c:v>
                </c:pt>
                <c:pt idx="4">
                  <c:v>0.017157682031308918</c:v>
                </c:pt>
                <c:pt idx="5">
                  <c:v>0.010345007324616792</c:v>
                </c:pt>
                <c:pt idx="6">
                  <c:v>0.009931055360339294</c:v>
                </c:pt>
                <c:pt idx="7">
                  <c:v>0.020310265934079454</c:v>
                </c:pt>
                <c:pt idx="8">
                  <c:v>0.01935877735368818</c:v>
                </c:pt>
                <c:pt idx="9">
                  <c:v>0.002172927183804752</c:v>
                </c:pt>
                <c:pt idx="10">
                  <c:v>0.00117480482808500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981271760873598</c:v>
                </c:pt>
                <c:pt idx="4">
                  <c:v>0.007599096365085087</c:v>
                </c:pt>
                <c:pt idx="5">
                  <c:v>0.003592422073275713</c:v>
                </c:pt>
                <c:pt idx="6">
                  <c:v>0.0032777212980458176</c:v>
                </c:pt>
                <c:pt idx="7">
                  <c:v>0.004155694768489085</c:v>
                </c:pt>
                <c:pt idx="8">
                  <c:v>0.0018617436727184685</c:v>
                </c:pt>
                <c:pt idx="9">
                  <c:v>0.001441070302449457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499321807132914</c:v>
                </c:pt>
                <c:pt idx="2">
                  <c:v>0.0005661808721516262</c:v>
                </c:pt>
                <c:pt idx="3">
                  <c:v>0.008233353455801668</c:v>
                </c:pt>
                <c:pt idx="4">
                  <c:v>0.003160767975924207</c:v>
                </c:pt>
                <c:pt idx="5">
                  <c:v>0.008278820528877627</c:v>
                </c:pt>
                <c:pt idx="6">
                  <c:v>0.015554706055243884</c:v>
                </c:pt>
                <c:pt idx="7">
                  <c:v>0.03108971543128354</c:v>
                </c:pt>
                <c:pt idx="8">
                  <c:v>0.031262224369488154</c:v>
                </c:pt>
                <c:pt idx="9">
                  <c:v>0.0201649042699784</c:v>
                </c:pt>
                <c:pt idx="10">
                  <c:v>0.00539903477521632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41326002405482</c:v>
                </c:pt>
                <c:pt idx="1">
                  <c:v>0.0061713187474905715</c:v>
                </c:pt>
                <c:pt idx="2">
                  <c:v>0.016758228058257527</c:v>
                </c:pt>
                <c:pt idx="3">
                  <c:v>0.013772482577596659</c:v>
                </c:pt>
                <c:pt idx="4">
                  <c:v>0.012019049193768852</c:v>
                </c:pt>
                <c:pt idx="5">
                  <c:v>0.04236039804895471</c:v>
                </c:pt>
                <c:pt idx="6">
                  <c:v>0.05128419903484042</c:v>
                </c:pt>
                <c:pt idx="7">
                  <c:v>0.056442138221051694</c:v>
                </c:pt>
                <c:pt idx="8">
                  <c:v>0.055836186527998155</c:v>
                </c:pt>
                <c:pt idx="9">
                  <c:v>0.06736591564984633</c:v>
                </c:pt>
                <c:pt idx="10">
                  <c:v>0.015904094775753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95100899713595</c:v>
                </c:pt>
                <c:pt idx="1">
                  <c:v>0.004337846157663012</c:v>
                </c:pt>
                <c:pt idx="2">
                  <c:v>0.003410356471032117</c:v>
                </c:pt>
                <c:pt idx="3">
                  <c:v>0.0036764375034963534</c:v>
                </c:pt>
                <c:pt idx="4">
                  <c:v>0.012088339297398006</c:v>
                </c:pt>
                <c:pt idx="5">
                  <c:v>0.03054474966700302</c:v>
                </c:pt>
                <c:pt idx="6">
                  <c:v>0.02695129815056332</c:v>
                </c:pt>
                <c:pt idx="7">
                  <c:v>0.03765168212342693</c:v>
                </c:pt>
                <c:pt idx="8">
                  <c:v>0.05217987463835769</c:v>
                </c:pt>
                <c:pt idx="9">
                  <c:v>0.03258373342713391</c:v>
                </c:pt>
                <c:pt idx="10">
                  <c:v>0.00117823630529828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069135824413645</c:v>
                </c:pt>
                <c:pt idx="1">
                  <c:v>0.0062330638905970254</c:v>
                </c:pt>
                <c:pt idx="2">
                  <c:v>0.005536268127668419</c:v>
                </c:pt>
                <c:pt idx="3">
                  <c:v>0.003436886079237287</c:v>
                </c:pt>
                <c:pt idx="4">
                  <c:v>0.009653903524515712</c:v>
                </c:pt>
                <c:pt idx="5">
                  <c:v>0.01146692879949864</c:v>
                </c:pt>
                <c:pt idx="6">
                  <c:v>0.02459410064040544</c:v>
                </c:pt>
                <c:pt idx="7">
                  <c:v>0.030474623140803125</c:v>
                </c:pt>
                <c:pt idx="8">
                  <c:v>0.026328978311202435</c:v>
                </c:pt>
                <c:pt idx="9">
                  <c:v>0.013911774816376721</c:v>
                </c:pt>
                <c:pt idx="10">
                  <c:v>0.001712731774731790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11955561231656</c:v>
                </c:pt>
                <c:pt idx="1">
                  <c:v>0.016790962634133107</c:v>
                </c:pt>
                <c:pt idx="2">
                  <c:v>0.017473123539855712</c:v>
                </c:pt>
                <c:pt idx="3">
                  <c:v>0.03224781771356837</c:v>
                </c:pt>
                <c:pt idx="4">
                  <c:v>0.05227329494860873</c:v>
                </c:pt>
                <c:pt idx="5">
                  <c:v>0.08396238624134507</c:v>
                </c:pt>
                <c:pt idx="6">
                  <c:v>0.11268797899025895</c:v>
                </c:pt>
                <c:pt idx="7">
                  <c:v>0.15105332215841044</c:v>
                </c:pt>
                <c:pt idx="8">
                  <c:v>0.2066157973532635</c:v>
                </c:pt>
                <c:pt idx="9">
                  <c:v>0.08056465496413434</c:v>
                </c:pt>
                <c:pt idx="10">
                  <c:v>0.0783272348938981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929565669634046</c:v>
                </c:pt>
                <c:pt idx="2">
                  <c:v>0.0009490056377891685</c:v>
                </c:pt>
                <c:pt idx="3">
                  <c:v>0.012094304471257433</c:v>
                </c:pt>
                <c:pt idx="4">
                  <c:v>0.005963595396304047</c:v>
                </c:pt>
                <c:pt idx="5">
                  <c:v>0.005907662121520895</c:v>
                </c:pt>
                <c:pt idx="6">
                  <c:v>0.0009479033957006248</c:v>
                </c:pt>
                <c:pt idx="7">
                  <c:v>0.012339128972754325</c:v>
                </c:pt>
                <c:pt idx="8">
                  <c:v>0.009068140151238913</c:v>
                </c:pt>
                <c:pt idx="9">
                  <c:v>0.0044199632190081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5178856896970553</c:v>
                </c:pt>
                <c:pt idx="3">
                  <c:v>0.004221000255210378</c:v>
                </c:pt>
                <c:pt idx="4">
                  <c:v>0.0048367016634500255</c:v>
                </c:pt>
                <c:pt idx="6">
                  <c:v>0.000533289522884454</c:v>
                </c:pt>
                <c:pt idx="7">
                  <c:v>0.00522067596180990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024350980224578</c:v>
                </c:pt>
                <c:pt idx="4">
                  <c:v>0.0019629085341465713</c:v>
                </c:pt>
                <c:pt idx="5">
                  <c:v>0.007768676641397261</c:v>
                </c:pt>
                <c:pt idx="6">
                  <c:v>0.008793505512457354</c:v>
                </c:pt>
                <c:pt idx="7">
                  <c:v>0.008585843102975714</c:v>
                </c:pt>
                <c:pt idx="8">
                  <c:v>0.023134697413948545</c:v>
                </c:pt>
                <c:pt idx="9">
                  <c:v>0.007178343334825448</c:v>
                </c:pt>
                <c:pt idx="10">
                  <c:v>0.00674146417182069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25264271840896</c:v>
                </c:pt>
                <c:pt idx="1">
                  <c:v>0.0009961319982848562</c:v>
                </c:pt>
                <c:pt idx="2">
                  <c:v>0.0036209065949445087</c:v>
                </c:pt>
                <c:pt idx="3">
                  <c:v>0.013998306432587005</c:v>
                </c:pt>
                <c:pt idx="4">
                  <c:v>0.004027620147591043</c:v>
                </c:pt>
                <c:pt idx="5">
                  <c:v>0.018349131516591285</c:v>
                </c:pt>
                <c:pt idx="6">
                  <c:v>0.01957001618794065</c:v>
                </c:pt>
                <c:pt idx="7">
                  <c:v>0.030510022432417645</c:v>
                </c:pt>
                <c:pt idx="8">
                  <c:v>0.022754076687143063</c:v>
                </c:pt>
                <c:pt idx="9">
                  <c:v>0.01942847177014031</c:v>
                </c:pt>
                <c:pt idx="10">
                  <c:v>0.02075239127632152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25309077981795</c:v>
                </c:pt>
                <c:pt idx="3">
                  <c:v>0.0019001303359935625</c:v>
                </c:pt>
                <c:pt idx="4">
                  <c:v>0.008334617330549602</c:v>
                </c:pt>
                <c:pt idx="5">
                  <c:v>0.018052336300619556</c:v>
                </c:pt>
                <c:pt idx="6">
                  <c:v>0.01096801697155211</c:v>
                </c:pt>
                <c:pt idx="7">
                  <c:v>0.024075535437861607</c:v>
                </c:pt>
                <c:pt idx="8">
                  <c:v>0.02281784414757054</c:v>
                </c:pt>
                <c:pt idx="9">
                  <c:v>0.0178313064502091</c:v>
                </c:pt>
                <c:pt idx="10">
                  <c:v>0.00487914625067462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945034355990329</c:v>
                </c:pt>
                <c:pt idx="1">
                  <c:v>0.0006637068068009494</c:v>
                </c:pt>
                <c:pt idx="2">
                  <c:v>0.0014195279849414993</c:v>
                </c:pt>
                <c:pt idx="3">
                  <c:v>0.0005785255381982891</c:v>
                </c:pt>
                <c:pt idx="4">
                  <c:v>0.003898792847887271</c:v>
                </c:pt>
                <c:pt idx="5">
                  <c:v>0.006544157326760921</c:v>
                </c:pt>
                <c:pt idx="6">
                  <c:v>0.01517501324102754</c:v>
                </c:pt>
                <c:pt idx="7">
                  <c:v>0.010645473380391998</c:v>
                </c:pt>
                <c:pt idx="8">
                  <c:v>0.024462844018539327</c:v>
                </c:pt>
                <c:pt idx="9">
                  <c:v>0.00582335162416818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354561836242731</c:v>
                </c:pt>
                <c:pt idx="3">
                  <c:v>0.0006132599420135237</c:v>
                </c:pt>
                <c:pt idx="4">
                  <c:v>0.0017840421992281357</c:v>
                </c:pt>
                <c:pt idx="5">
                  <c:v>0.0034636194045145384</c:v>
                </c:pt>
                <c:pt idx="6">
                  <c:v>0.002545167917419802</c:v>
                </c:pt>
                <c:pt idx="7">
                  <c:v>0.003387845772137599</c:v>
                </c:pt>
                <c:pt idx="8">
                  <c:v>0.00065691423993029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71979789509513</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582989958646008</c:v>
                </c:pt>
                <c:pt idx="1">
                  <c:v>0.0019929855107430334</c:v>
                </c:pt>
                <c:pt idx="2">
                  <c:v>0.0030582896948437768</c:v>
                </c:pt>
                <c:pt idx="3">
                  <c:v>0.007207132777929085</c:v>
                </c:pt>
                <c:pt idx="4">
                  <c:v>0.014674730551045772</c:v>
                </c:pt>
                <c:pt idx="5">
                  <c:v>0.010793761029072564</c:v>
                </c:pt>
                <c:pt idx="6">
                  <c:v>0.006098648371388458</c:v>
                </c:pt>
                <c:pt idx="7">
                  <c:v>0.02470817596077515</c:v>
                </c:pt>
                <c:pt idx="8">
                  <c:v>0.014742864129153944</c:v>
                </c:pt>
                <c:pt idx="9">
                  <c:v>0.0038078260263252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4289253645925226</c:v>
                </c:pt>
                <c:pt idx="2">
                  <c:v>0.0008711820709921701</c:v>
                </c:pt>
                <c:pt idx="3">
                  <c:v>0.006588547433188905</c:v>
                </c:pt>
                <c:pt idx="4">
                  <c:v>0.0027251337546386803</c:v>
                </c:pt>
                <c:pt idx="5">
                  <c:v>0.002421322731823311</c:v>
                </c:pt>
                <c:pt idx="6">
                  <c:v>0.02052761141927378</c:v>
                </c:pt>
                <c:pt idx="7">
                  <c:v>0.01641177202139083</c:v>
                </c:pt>
                <c:pt idx="8">
                  <c:v>0.03446682950665092</c:v>
                </c:pt>
                <c:pt idx="9">
                  <c:v>0.016359717645208844</c:v>
                </c:pt>
                <c:pt idx="10">
                  <c:v>0.01182076096369005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0748932735575936</c:v>
                </c:pt>
                <c:pt idx="7">
                  <c:v>0.0034209309991859844</c:v>
                </c:pt>
                <c:pt idx="8">
                  <c:v>0.004307406810665265</c:v>
                </c:pt>
                <c:pt idx="9">
                  <c:v>0.000692061100980323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992158149357658</c:v>
                </c:pt>
                <c:pt idx="1">
                  <c:v>0.004806685894584969</c:v>
                </c:pt>
                <c:pt idx="2">
                  <c:v>0.005318270974527762</c:v>
                </c:pt>
                <c:pt idx="3">
                  <c:v>0.012028829568857128</c:v>
                </c:pt>
                <c:pt idx="4">
                  <c:v>0.021067431497172114</c:v>
                </c:pt>
                <c:pt idx="5">
                  <c:v>0.02707223608286765</c:v>
                </c:pt>
                <c:pt idx="6">
                  <c:v>0.031719451197962475</c:v>
                </c:pt>
                <c:pt idx="7">
                  <c:v>0.055353638684090316</c:v>
                </c:pt>
                <c:pt idx="8">
                  <c:v>0.05732882842155025</c:v>
                </c:pt>
                <c:pt idx="9">
                  <c:v>0.014509223162283815</c:v>
                </c:pt>
                <c:pt idx="10">
                  <c:v>0.06183574633903851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27077476177021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969365147508275</c:v>
                </c:pt>
                <c:pt idx="1">
                  <c:v>0.003465910370468512</c:v>
                </c:pt>
                <c:pt idx="2">
                  <c:v>0.0021370962276709136</c:v>
                </c:pt>
                <c:pt idx="3">
                  <c:v>0.0026910767188309402</c:v>
                </c:pt>
                <c:pt idx="4">
                  <c:v>0.0052493337289206705</c:v>
                </c:pt>
                <c:pt idx="5">
                  <c:v>0.028457316053619487</c:v>
                </c:pt>
                <c:pt idx="6">
                  <c:v>0.025960409563912427</c:v>
                </c:pt>
                <c:pt idx="7">
                  <c:v>0.029847552240606295</c:v>
                </c:pt>
                <c:pt idx="8">
                  <c:v>0.050437713179346894</c:v>
                </c:pt>
                <c:pt idx="9">
                  <c:v>0.0358818831540736</c:v>
                </c:pt>
                <c:pt idx="10">
                  <c:v>0.00393984206756754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904571200478175</c:v>
                </c:pt>
                <c:pt idx="1">
                  <c:v>0.005772224124891083</c:v>
                </c:pt>
                <c:pt idx="2">
                  <c:v>0.006854590032973159</c:v>
                </c:pt>
                <c:pt idx="3">
                  <c:v>0.03524092263339358</c:v>
                </c:pt>
                <c:pt idx="4">
                  <c:v>0.02630543180630046</c:v>
                </c:pt>
                <c:pt idx="5">
                  <c:v>0.0601810319650619</c:v>
                </c:pt>
                <c:pt idx="6">
                  <c:v>0.057999623226098085</c:v>
                </c:pt>
                <c:pt idx="7">
                  <c:v>0.08954384909853888</c:v>
                </c:pt>
                <c:pt idx="8">
                  <c:v>0.10289451665837068</c:v>
                </c:pt>
                <c:pt idx="9">
                  <c:v>0.055153529440479736</c:v>
                </c:pt>
                <c:pt idx="10">
                  <c:v>0.03239541854729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32825860438789</c:v>
                </c:pt>
                <c:pt idx="1">
                  <c:v>0.0030734663963747338</c:v>
                </c:pt>
                <c:pt idx="2">
                  <c:v>0.0055593660224720065</c:v>
                </c:pt>
                <c:pt idx="3">
                  <c:v>0.002708529177842654</c:v>
                </c:pt>
                <c:pt idx="4">
                  <c:v>0.006582276746004785</c:v>
                </c:pt>
                <c:pt idx="5">
                  <c:v>0.009500095635457046</c:v>
                </c:pt>
                <c:pt idx="6">
                  <c:v>0.018979275109016668</c:v>
                </c:pt>
                <c:pt idx="7">
                  <c:v>0.021579141418668134</c:v>
                </c:pt>
                <c:pt idx="8">
                  <c:v>0.048597555837115884</c:v>
                </c:pt>
                <c:pt idx="9">
                  <c:v>0.00936333691562485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116832535196467</c:v>
                </c:pt>
                <c:pt idx="1">
                  <c:v>0.002014613009407302</c:v>
                </c:pt>
                <c:pt idx="2">
                  <c:v>0.0005248273876151061</c:v>
                </c:pt>
                <c:pt idx="3">
                  <c:v>0.0010237020369196592</c:v>
                </c:pt>
                <c:pt idx="4">
                  <c:v>0.0018663851220885206</c:v>
                </c:pt>
                <c:pt idx="5">
                  <c:v>0.005717654708505003</c:v>
                </c:pt>
                <c:pt idx="6">
                  <c:v>0.009402583328705147</c:v>
                </c:pt>
                <c:pt idx="7">
                  <c:v>0.0031530418328797297</c:v>
                </c:pt>
                <c:pt idx="8">
                  <c:v>0.0010420062794455993</c:v>
                </c:pt>
                <c:pt idx="9">
                  <c:v>0.00064266806061797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921549756512968</c:v>
                </c:pt>
                <c:pt idx="3">
                  <c:v>0.0005079308636451198</c:v>
                </c:pt>
                <c:pt idx="4">
                  <c:v>0.0019638779223477283</c:v>
                </c:pt>
                <c:pt idx="5">
                  <c:v>0.0012101320897432738</c:v>
                </c:pt>
                <c:pt idx="6">
                  <c:v>0.003893893873814638</c:v>
                </c:pt>
                <c:pt idx="7">
                  <c:v>0.004807689178525772</c:v>
                </c:pt>
                <c:pt idx="8">
                  <c:v>0.0028679212811456066</c:v>
                </c:pt>
                <c:pt idx="9">
                  <c:v>0.000904911397722681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929565669634046</c:v>
                </c:pt>
                <c:pt idx="5">
                  <c:v>0.002810932262993805</c:v>
                </c:pt>
                <c:pt idx="7">
                  <c:v>0.0035380786132008894</c:v>
                </c:pt>
                <c:pt idx="8">
                  <c:v>0.003753305159015161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817840100762583</c:v>
                </c:pt>
                <c:pt idx="1">
                  <c:v>0.004710079937720061</c:v>
                </c:pt>
                <c:pt idx="2">
                  <c:v>0.0035365833603226166</c:v>
                </c:pt>
                <c:pt idx="3">
                  <c:v>0.011215191341785913</c:v>
                </c:pt>
                <c:pt idx="4">
                  <c:v>0.017157682031308918</c:v>
                </c:pt>
                <c:pt idx="5">
                  <c:v>0.010345007324616792</c:v>
                </c:pt>
                <c:pt idx="6">
                  <c:v>0.009931055360339294</c:v>
                </c:pt>
                <c:pt idx="7">
                  <c:v>0.020310265934079454</c:v>
                </c:pt>
                <c:pt idx="8">
                  <c:v>0.01935877735368818</c:v>
                </c:pt>
                <c:pt idx="9">
                  <c:v>0.002172927183804752</c:v>
                </c:pt>
                <c:pt idx="10">
                  <c:v>0.00117480482808500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499321807132914</c:v>
                </c:pt>
                <c:pt idx="2">
                  <c:v>0.0005661808721516262</c:v>
                </c:pt>
                <c:pt idx="3">
                  <c:v>0.008233353455801668</c:v>
                </c:pt>
                <c:pt idx="4">
                  <c:v>0.003160767975924207</c:v>
                </c:pt>
                <c:pt idx="5">
                  <c:v>0.008278820528877627</c:v>
                </c:pt>
                <c:pt idx="6">
                  <c:v>0.015554706055243884</c:v>
                </c:pt>
                <c:pt idx="7">
                  <c:v>0.03108971543128354</c:v>
                </c:pt>
                <c:pt idx="8">
                  <c:v>0.031262224369488154</c:v>
                </c:pt>
                <c:pt idx="9">
                  <c:v>0.0201649042699784</c:v>
                </c:pt>
                <c:pt idx="10">
                  <c:v>0.00539903477521632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1529431183839134</c:v>
                </c:pt>
                <c:pt idx="7">
                  <c:v>0.005036584994563639</c:v>
                </c:pt>
                <c:pt idx="8">
                  <c:v>0.004385792473025565</c:v>
                </c:pt>
                <c:pt idx="9">
                  <c:v>0.00108807853086587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41326002405482</c:v>
                </c:pt>
                <c:pt idx="1">
                  <c:v>0.0061713187474905715</c:v>
                </c:pt>
                <c:pt idx="2">
                  <c:v>0.016758228058257527</c:v>
                </c:pt>
                <c:pt idx="3">
                  <c:v>0.013772482577596659</c:v>
                </c:pt>
                <c:pt idx="4">
                  <c:v>0.012019049193768852</c:v>
                </c:pt>
                <c:pt idx="5">
                  <c:v>0.04236039804895471</c:v>
                </c:pt>
                <c:pt idx="6">
                  <c:v>0.05128419903484042</c:v>
                </c:pt>
                <c:pt idx="7">
                  <c:v>0.056442138221051694</c:v>
                </c:pt>
                <c:pt idx="8">
                  <c:v>0.055836186527998155</c:v>
                </c:pt>
                <c:pt idx="9">
                  <c:v>0.06736591564984633</c:v>
                </c:pt>
                <c:pt idx="10">
                  <c:v>0.015904094775753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496006597580244</c:v>
                </c:pt>
                <c:pt idx="4">
                  <c:v>0.0029741081817818205</c:v>
                </c:pt>
                <c:pt idx="5">
                  <c:v>0.0031029327258803702</c:v>
                </c:pt>
                <c:pt idx="7">
                  <c:v>0.00508106322326973</c:v>
                </c:pt>
                <c:pt idx="8">
                  <c:v>0.00555260514435396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14235997940873469</c:v>
                </c:pt>
                <c:pt idx="8">
                  <c:v>0.00410665466976479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95100899713595</c:v>
                </c:pt>
                <c:pt idx="1">
                  <c:v>0.004337846157663012</c:v>
                </c:pt>
                <c:pt idx="2">
                  <c:v>0.003410356471032117</c:v>
                </c:pt>
                <c:pt idx="3">
                  <c:v>0.0036764375034963534</c:v>
                </c:pt>
                <c:pt idx="4">
                  <c:v>0.012088339297398006</c:v>
                </c:pt>
                <c:pt idx="5">
                  <c:v>0.03054474966700302</c:v>
                </c:pt>
                <c:pt idx="6">
                  <c:v>0.02695129815056332</c:v>
                </c:pt>
                <c:pt idx="7">
                  <c:v>0.03765168212342693</c:v>
                </c:pt>
                <c:pt idx="8">
                  <c:v>0.05217987463835769</c:v>
                </c:pt>
                <c:pt idx="9">
                  <c:v>0.03258373342713391</c:v>
                </c:pt>
                <c:pt idx="10">
                  <c:v>0.00117823630529828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069135824413645</c:v>
                </c:pt>
                <c:pt idx="1">
                  <c:v>0.0062330638905970254</c:v>
                </c:pt>
                <c:pt idx="2">
                  <c:v>0.005536268127668419</c:v>
                </c:pt>
                <c:pt idx="3">
                  <c:v>0.003436886079237287</c:v>
                </c:pt>
                <c:pt idx="4">
                  <c:v>0.009653903524515712</c:v>
                </c:pt>
                <c:pt idx="5">
                  <c:v>0.01146692879949864</c:v>
                </c:pt>
                <c:pt idx="6">
                  <c:v>0.02459410064040544</c:v>
                </c:pt>
                <c:pt idx="7">
                  <c:v>0.030474623140803125</c:v>
                </c:pt>
                <c:pt idx="8">
                  <c:v>0.026328978311202435</c:v>
                </c:pt>
                <c:pt idx="9">
                  <c:v>0.013911774816376721</c:v>
                </c:pt>
                <c:pt idx="10">
                  <c:v>0.001712731774731790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929565669634046</c:v>
                </c:pt>
                <c:pt idx="2">
                  <c:v>0.0009490056377891685</c:v>
                </c:pt>
                <c:pt idx="3">
                  <c:v>0.012094304471257433</c:v>
                </c:pt>
                <c:pt idx="4">
                  <c:v>0.005963595396304047</c:v>
                </c:pt>
                <c:pt idx="5">
                  <c:v>0.005907662121520895</c:v>
                </c:pt>
                <c:pt idx="6">
                  <c:v>0.0009479033957006248</c:v>
                </c:pt>
                <c:pt idx="7">
                  <c:v>0.012339128972754325</c:v>
                </c:pt>
                <c:pt idx="8">
                  <c:v>0.009068140151238913</c:v>
                </c:pt>
                <c:pt idx="9">
                  <c:v>0.0044199632190081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024350980224578</c:v>
                </c:pt>
                <c:pt idx="4">
                  <c:v>0.0019629085341465713</c:v>
                </c:pt>
                <c:pt idx="5">
                  <c:v>0.007768676641397261</c:v>
                </c:pt>
                <c:pt idx="6">
                  <c:v>0.008793505512457354</c:v>
                </c:pt>
                <c:pt idx="7">
                  <c:v>0.008585843102975714</c:v>
                </c:pt>
                <c:pt idx="8">
                  <c:v>0.023134697413948545</c:v>
                </c:pt>
                <c:pt idx="9">
                  <c:v>0.007178343334825448</c:v>
                </c:pt>
                <c:pt idx="10">
                  <c:v>0.00674146417182069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8839843769859733</c:v>
                </c:pt>
                <c:pt idx="6">
                  <c:v>0.001584078950734973</c:v>
                </c:pt>
                <c:pt idx="7">
                  <c:v>0.0037758652989624305</c:v>
                </c:pt>
                <c:pt idx="8">
                  <c:v>0.0061696871108095136</c:v>
                </c:pt>
                <c:pt idx="9">
                  <c:v>0.004154540568481632</c:v>
                </c:pt>
                <c:pt idx="10">
                  <c:v>0.00497246482149595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101366674098993</c:v>
                </c:pt>
                <c:pt idx="7">
                  <c:v>0.0015125985512929115</c:v>
                </c:pt>
                <c:pt idx="8">
                  <c:v>0.0049597807706620416</c:v>
                </c:pt>
                <c:pt idx="9">
                  <c:v>0.000668928678695425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25264271840896</c:v>
                </c:pt>
                <c:pt idx="1">
                  <c:v>0.0009961319982848562</c:v>
                </c:pt>
                <c:pt idx="2">
                  <c:v>0.0036209065949445087</c:v>
                </c:pt>
                <c:pt idx="3">
                  <c:v>0.013998306432587005</c:v>
                </c:pt>
                <c:pt idx="4">
                  <c:v>0.004027620147591043</c:v>
                </c:pt>
                <c:pt idx="5">
                  <c:v>0.018349131516591285</c:v>
                </c:pt>
                <c:pt idx="6">
                  <c:v>0.01957001618794065</c:v>
                </c:pt>
                <c:pt idx="7">
                  <c:v>0.030510022432417645</c:v>
                </c:pt>
                <c:pt idx="8">
                  <c:v>0.022754076687143063</c:v>
                </c:pt>
                <c:pt idx="9">
                  <c:v>0.01942847177014031</c:v>
                </c:pt>
                <c:pt idx="10">
                  <c:v>0.02075239127632152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1781385795794745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25309077981795</c:v>
                </c:pt>
                <c:pt idx="3">
                  <c:v>0.0019001303359935625</c:v>
                </c:pt>
                <c:pt idx="4">
                  <c:v>0.008334617330549602</c:v>
                </c:pt>
                <c:pt idx="5">
                  <c:v>0.018052336300619556</c:v>
                </c:pt>
                <c:pt idx="6">
                  <c:v>0.01096801697155211</c:v>
                </c:pt>
                <c:pt idx="7">
                  <c:v>0.024075535437861607</c:v>
                </c:pt>
                <c:pt idx="8">
                  <c:v>0.02281784414757054</c:v>
                </c:pt>
                <c:pt idx="9">
                  <c:v>0.0178313064502091</c:v>
                </c:pt>
                <c:pt idx="10">
                  <c:v>0.00487914625067462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945034355990329</c:v>
                </c:pt>
                <c:pt idx="1">
                  <c:v>0.0006637068068009494</c:v>
                </c:pt>
                <c:pt idx="2">
                  <c:v>0.0014195279849414993</c:v>
                </c:pt>
                <c:pt idx="3">
                  <c:v>0.0005785255381982891</c:v>
                </c:pt>
                <c:pt idx="4">
                  <c:v>0.003898792847887271</c:v>
                </c:pt>
                <c:pt idx="5">
                  <c:v>0.006544157326760921</c:v>
                </c:pt>
                <c:pt idx="6">
                  <c:v>0.01517501324102754</c:v>
                </c:pt>
                <c:pt idx="7">
                  <c:v>0.010645473380391998</c:v>
                </c:pt>
                <c:pt idx="8">
                  <c:v>0.024462844018539327</c:v>
                </c:pt>
                <c:pt idx="9">
                  <c:v>0.00582335162416818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354561836242731</c:v>
                </c:pt>
                <c:pt idx="3">
                  <c:v>0.0006132599420135237</c:v>
                </c:pt>
                <c:pt idx="4">
                  <c:v>0.0017840421992281357</c:v>
                </c:pt>
                <c:pt idx="5">
                  <c:v>0.0034636194045145384</c:v>
                </c:pt>
                <c:pt idx="6">
                  <c:v>0.002545167917419802</c:v>
                </c:pt>
                <c:pt idx="7">
                  <c:v>0.003387845772137599</c:v>
                </c:pt>
                <c:pt idx="8">
                  <c:v>0.00065691423993029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71979789509513</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56244764193211</c:v>
                </c:pt>
                <c:pt idx="3">
                  <c:v>0.0006089198776111931</c:v>
                </c:pt>
                <c:pt idx="4">
                  <c:v>0.0008840231951314473</c:v>
                </c:pt>
                <c:pt idx="5">
                  <c:v>0.0023583031058826112</c:v>
                </c:pt>
                <c:pt idx="7">
                  <c:v>0.0057356650532077134</c:v>
                </c:pt>
                <c:pt idx="8">
                  <c:v>0.00614173951417838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11955561231656</c:v>
                </c:pt>
                <c:pt idx="1">
                  <c:v>0.016790962634133107</c:v>
                </c:pt>
                <c:pt idx="2">
                  <c:v>0.017473123539855712</c:v>
                </c:pt>
                <c:pt idx="3">
                  <c:v>0.03224781771356837</c:v>
                </c:pt>
                <c:pt idx="4">
                  <c:v>0.05227329494860873</c:v>
                </c:pt>
                <c:pt idx="5">
                  <c:v>0.08396238624134507</c:v>
                </c:pt>
                <c:pt idx="6">
                  <c:v>0.11268797899025895</c:v>
                </c:pt>
                <c:pt idx="7">
                  <c:v>0.15105332215841044</c:v>
                </c:pt>
                <c:pt idx="8">
                  <c:v>0.2066157973532635</c:v>
                </c:pt>
                <c:pt idx="9">
                  <c:v>0.08056465496413434</c:v>
                </c:pt>
                <c:pt idx="10">
                  <c:v>0.0783272348938981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257412365626721</c:v>
                </c:pt>
                <c:pt idx="4">
                  <c:v>0.0034856073765726758</c:v>
                </c:pt>
                <c:pt idx="5">
                  <c:v>0.0036788198369053695</c:v>
                </c:pt>
                <c:pt idx="6">
                  <c:v>0.0020020644826584076</c:v>
                </c:pt>
                <c:pt idx="7">
                  <c:v>0.006249694296684839</c:v>
                </c:pt>
                <c:pt idx="8">
                  <c:v>0.001583417436931193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6436778467230066</c:v>
                </c:pt>
                <c:pt idx="3">
                  <c:v>0.008562627251214655</c:v>
                </c:pt>
                <c:pt idx="4">
                  <c:v>0.008918386664935054</c:v>
                </c:pt>
                <c:pt idx="5">
                  <c:v>0.003379434187065438</c:v>
                </c:pt>
                <c:pt idx="6">
                  <c:v>0.0006318933242712237</c:v>
                </c:pt>
                <c:pt idx="7">
                  <c:v>0.005641364815585797</c:v>
                </c:pt>
                <c:pt idx="8">
                  <c:v>0.00735325461425353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9006095658676275</c:v>
                </c:pt>
                <c:pt idx="8">
                  <c:v>0.0014258647958891159</c:v>
                </c:pt>
                <c:pt idx="9">
                  <c:v>0.0010135749161302905</c:v>
                </c:pt>
                <c:pt idx="10">
                  <c:v>0.001173277172667048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6436778467230066</c:v>
                </c:pt>
                <c:pt idx="3">
                  <c:v>0.008562627251214655</c:v>
                </c:pt>
                <c:pt idx="4">
                  <c:v>0.008918386664935054</c:v>
                </c:pt>
                <c:pt idx="5">
                  <c:v>0.003379434187065438</c:v>
                </c:pt>
                <c:pt idx="6">
                  <c:v>0.0006318933242712237</c:v>
                </c:pt>
                <c:pt idx="7">
                  <c:v>0.005641364815585797</c:v>
                </c:pt>
                <c:pt idx="8">
                  <c:v>0.00735325461425353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915430566361968</c:v>
                </c:pt>
                <c:pt idx="1">
                  <c:v>0.025515726790348144</c:v>
                </c:pt>
                <c:pt idx="2">
                  <c:v>0.03199740978374033</c:v>
                </c:pt>
                <c:pt idx="3">
                  <c:v>0.0411103752403546</c:v>
                </c:pt>
                <c:pt idx="4">
                  <c:v>0.05793075164029115</c:v>
                </c:pt>
                <c:pt idx="5">
                  <c:v>0.11068370870934567</c:v>
                </c:pt>
                <c:pt idx="6">
                  <c:v>0.13434203264565014</c:v>
                </c:pt>
                <c:pt idx="7">
                  <c:v>0.17805870919511416</c:v>
                </c:pt>
                <c:pt idx="8">
                  <c:v>0.1872343763191081</c:v>
                </c:pt>
                <c:pt idx="9">
                  <c:v>0.136610462129647</c:v>
                </c:pt>
                <c:pt idx="10">
                  <c:v>0.0253689024590849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981271760873598</c:v>
                </c:pt>
                <c:pt idx="4">
                  <c:v>0.007599096365085087</c:v>
                </c:pt>
                <c:pt idx="5">
                  <c:v>0.003592422073275713</c:v>
                </c:pt>
                <c:pt idx="6">
                  <c:v>0.0032777212980458176</c:v>
                </c:pt>
                <c:pt idx="7">
                  <c:v>0.004155694768489085</c:v>
                </c:pt>
                <c:pt idx="8">
                  <c:v>0.0018617436727184685</c:v>
                </c:pt>
                <c:pt idx="9">
                  <c:v>0.001441070302449457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31836619340219</c:v>
                </c:pt>
                <c:pt idx="2">
                  <c:v>0.001591815096428842</c:v>
                </c:pt>
                <c:pt idx="3">
                  <c:v>0.006435589675724803</c:v>
                </c:pt>
                <c:pt idx="4">
                  <c:v>0.0140854118527152</c:v>
                </c:pt>
                <c:pt idx="5">
                  <c:v>0.0036704796011847963</c:v>
                </c:pt>
                <c:pt idx="6">
                  <c:v>0.003448342923783125</c:v>
                </c:pt>
                <c:pt idx="7">
                  <c:v>0.0050893010632526514</c:v>
                </c:pt>
                <c:pt idx="8">
                  <c:v>0.00796461302849714</c:v>
                </c:pt>
                <c:pt idx="9">
                  <c:v>0.00068222056346520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904571200478175</c:v>
                </c:pt>
                <c:pt idx="1">
                  <c:v>0.005772224124891083</c:v>
                </c:pt>
                <c:pt idx="2">
                  <c:v>0.006854590032973159</c:v>
                </c:pt>
                <c:pt idx="3">
                  <c:v>0.03524092263339358</c:v>
                </c:pt>
                <c:pt idx="4">
                  <c:v>0.02630543180630046</c:v>
                </c:pt>
                <c:pt idx="5">
                  <c:v>0.0601810319650619</c:v>
                </c:pt>
                <c:pt idx="6">
                  <c:v>0.057999623226098085</c:v>
                </c:pt>
                <c:pt idx="7">
                  <c:v>0.08954384909853888</c:v>
                </c:pt>
                <c:pt idx="8">
                  <c:v>0.10289451665837068</c:v>
                </c:pt>
                <c:pt idx="9">
                  <c:v>0.055153529440479736</c:v>
                </c:pt>
                <c:pt idx="10">
                  <c:v>0.03239541854729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5178856896970553</c:v>
                </c:pt>
                <c:pt idx="3">
                  <c:v>0.004221000255210378</c:v>
                </c:pt>
                <c:pt idx="4">
                  <c:v>0.0048367016634500255</c:v>
                </c:pt>
                <c:pt idx="6">
                  <c:v>0.000533289522884454</c:v>
                </c:pt>
                <c:pt idx="7">
                  <c:v>0.00522067596180990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496006597580244</c:v>
                </c:pt>
                <c:pt idx="4">
                  <c:v>0.0029741081817818205</c:v>
                </c:pt>
                <c:pt idx="5">
                  <c:v>0.0031029327258803702</c:v>
                </c:pt>
                <c:pt idx="7">
                  <c:v>0.00508106322326973</c:v>
                </c:pt>
                <c:pt idx="8">
                  <c:v>0.00555260514435396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9006095658676275</c:v>
                </c:pt>
                <c:pt idx="8">
                  <c:v>0.0014258647958891159</c:v>
                </c:pt>
                <c:pt idx="9">
                  <c:v>0.0010135749161302905</c:v>
                </c:pt>
                <c:pt idx="10">
                  <c:v>0.001173277172667048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8839843769859733</c:v>
                </c:pt>
                <c:pt idx="6">
                  <c:v>0.001584078950734973</c:v>
                </c:pt>
                <c:pt idx="7">
                  <c:v>0.0037758652989624305</c:v>
                </c:pt>
                <c:pt idx="8">
                  <c:v>0.0061696871108095136</c:v>
                </c:pt>
                <c:pt idx="9">
                  <c:v>0.004154540568481632</c:v>
                </c:pt>
                <c:pt idx="10">
                  <c:v>0.00497246482149595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86</c:v>
                </c:pt>
                <c:pt idx="1">
                  <c:v>0.019388419241720665</c:v>
                </c:pt>
                <c:pt idx="2">
                  <c:v>0.02108785479502085</c:v>
                </c:pt>
                <c:pt idx="3">
                  <c:v>0.046570673243805184</c:v>
                </c:pt>
                <c:pt idx="4">
                  <c:v>0.07462882923789697</c:v>
                </c:pt>
                <c:pt idx="5">
                  <c:v>0.09600551601999484</c:v>
                </c:pt>
                <c:pt idx="6">
                  <c:v>0.1265381674943396</c:v>
                </c:pt>
                <c:pt idx="7">
                  <c:v>0.17825652938472852</c:v>
                </c:pt>
                <c:pt idx="8">
                  <c:v>0.23031073586023193</c:v>
                </c:pt>
                <c:pt idx="9">
                  <c:v>0.103256668449766</c:v>
                </c:pt>
                <c:pt idx="10">
                  <c:v>0.0834147382079293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11955561231656</c:v>
                </c:pt>
                <c:pt idx="1">
                  <c:v>0.016790962634133107</c:v>
                </c:pt>
                <c:pt idx="2">
                  <c:v>0.017473123539855712</c:v>
                </c:pt>
                <c:pt idx="3">
                  <c:v>0.03224781771356837</c:v>
                </c:pt>
                <c:pt idx="4">
                  <c:v>0.05227329494860873</c:v>
                </c:pt>
                <c:pt idx="5">
                  <c:v>0.08396238624134507</c:v>
                </c:pt>
                <c:pt idx="6">
                  <c:v>0.11268797899025895</c:v>
                </c:pt>
                <c:pt idx="7">
                  <c:v>0.15105332215841044</c:v>
                </c:pt>
                <c:pt idx="8">
                  <c:v>0.2066157973532635</c:v>
                </c:pt>
                <c:pt idx="9">
                  <c:v>0.08056465496413434</c:v>
                </c:pt>
                <c:pt idx="10">
                  <c:v>0.0783272348938981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0748932735575936</c:v>
                </c:pt>
                <c:pt idx="7">
                  <c:v>0.0037809857425972057</c:v>
                </c:pt>
                <c:pt idx="8">
                  <c:v>0.007015154428367385</c:v>
                </c:pt>
                <c:pt idx="9">
                  <c:v>0.000692061100980323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6436778467230066</c:v>
                </c:pt>
                <c:pt idx="3">
                  <c:v>0.008562627251214655</c:v>
                </c:pt>
                <c:pt idx="4">
                  <c:v>0.008918386664935054</c:v>
                </c:pt>
                <c:pt idx="5">
                  <c:v>0.003379434187065438</c:v>
                </c:pt>
                <c:pt idx="6">
                  <c:v>0.0006318933242712237</c:v>
                </c:pt>
                <c:pt idx="7">
                  <c:v>0.005641364815585797</c:v>
                </c:pt>
                <c:pt idx="8">
                  <c:v>0.00735325461425353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1334196016642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9006095658676275</c:v>
                </c:pt>
                <c:pt idx="8">
                  <c:v>0.0014258647958891159</c:v>
                </c:pt>
                <c:pt idx="9">
                  <c:v>0.0010135749161302905</c:v>
                </c:pt>
                <c:pt idx="10">
                  <c:v>0.001173277172667048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915430566361968</c:v>
                </c:pt>
                <c:pt idx="1">
                  <c:v>0.025515726790348144</c:v>
                </c:pt>
                <c:pt idx="2">
                  <c:v>0.03199740978374033</c:v>
                </c:pt>
                <c:pt idx="3">
                  <c:v>0.0411103752403546</c:v>
                </c:pt>
                <c:pt idx="4">
                  <c:v>0.05793075164029115</c:v>
                </c:pt>
                <c:pt idx="5">
                  <c:v>0.11068370870934567</c:v>
                </c:pt>
                <c:pt idx="6">
                  <c:v>0.13434203264565014</c:v>
                </c:pt>
                <c:pt idx="7">
                  <c:v>0.17805870919511416</c:v>
                </c:pt>
                <c:pt idx="8">
                  <c:v>0.1872343763191081</c:v>
                </c:pt>
                <c:pt idx="9">
                  <c:v>0.136610462129647</c:v>
                </c:pt>
                <c:pt idx="10">
                  <c:v>0.0253689024590849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1529431183839134</c:v>
                </c:pt>
                <c:pt idx="7">
                  <c:v>0.006460184788650986</c:v>
                </c:pt>
                <c:pt idx="8">
                  <c:v>0.008492447142790363</c:v>
                </c:pt>
                <c:pt idx="9">
                  <c:v>0.00108807853086587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31836619340219</c:v>
                </c:pt>
                <c:pt idx="2">
                  <c:v>0.001591815096428842</c:v>
                </c:pt>
                <c:pt idx="3">
                  <c:v>0.006435589675724803</c:v>
                </c:pt>
                <c:pt idx="4">
                  <c:v>0.0140854118527152</c:v>
                </c:pt>
                <c:pt idx="5">
                  <c:v>0.0036704796011847963</c:v>
                </c:pt>
                <c:pt idx="6">
                  <c:v>0.003448342923783125</c:v>
                </c:pt>
                <c:pt idx="7">
                  <c:v>0.0050893010632526514</c:v>
                </c:pt>
                <c:pt idx="8">
                  <c:v>0.00796461302849714</c:v>
                </c:pt>
                <c:pt idx="9">
                  <c:v>0.00068222056346520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3986293976557332</c:v>
                </c:pt>
                <c:pt idx="6">
                  <c:v>0.000936480156929688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6</c:v>
                </c:pt>
                <c:pt idx="2">
                  <c:v>0.01976108985398971</c:v>
                </c:pt>
                <c:pt idx="3">
                  <c:v>0.07192901748330933</c:v>
                </c:pt>
                <c:pt idx="4">
                  <c:v>0.08583469975759078</c:v>
                </c:pt>
                <c:pt idx="5">
                  <c:v>0.09911325312877961</c:v>
                </c:pt>
                <c:pt idx="6">
                  <c:v>0.10772432930876731</c:v>
                </c:pt>
                <c:pt idx="7">
                  <c:v>0.18687023002152803</c:v>
                </c:pt>
                <c:pt idx="8">
                  <c:v>0.17963631715180864</c:v>
                </c:pt>
                <c:pt idx="9">
                  <c:v>0.14017528983490163</c:v>
                </c:pt>
                <c:pt idx="10">
                  <c:v>0.0595442363988527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904571200478175</c:v>
                </c:pt>
                <c:pt idx="1">
                  <c:v>0.005772224124891083</c:v>
                </c:pt>
                <c:pt idx="2">
                  <c:v>0.006854590032973159</c:v>
                </c:pt>
                <c:pt idx="3">
                  <c:v>0.03524092263339358</c:v>
                </c:pt>
                <c:pt idx="4">
                  <c:v>0.02630543180630046</c:v>
                </c:pt>
                <c:pt idx="5">
                  <c:v>0.0601810319650619</c:v>
                </c:pt>
                <c:pt idx="6">
                  <c:v>0.057999623226098085</c:v>
                </c:pt>
                <c:pt idx="7">
                  <c:v>0.08954384909853888</c:v>
                </c:pt>
                <c:pt idx="8">
                  <c:v>0.10289451665837068</c:v>
                </c:pt>
                <c:pt idx="9">
                  <c:v>0.055153529440479736</c:v>
                </c:pt>
                <c:pt idx="10">
                  <c:v>0.03239541854729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101366674098993</c:v>
                </c:pt>
                <c:pt idx="7">
                  <c:v>0.0018025763999469987</c:v>
                </c:pt>
                <c:pt idx="8">
                  <c:v>0.006741166566456787</c:v>
                </c:pt>
                <c:pt idx="9">
                  <c:v>0.00066892867869542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496006597580244</c:v>
                </c:pt>
                <c:pt idx="4">
                  <c:v>0.0029741081817818205</c:v>
                </c:pt>
                <c:pt idx="5">
                  <c:v>0.0031029327258803702</c:v>
                </c:pt>
                <c:pt idx="7">
                  <c:v>0.00508106322326973</c:v>
                </c:pt>
                <c:pt idx="8">
                  <c:v>0.00555260514435396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102932725880370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8839843769859733</c:v>
                </c:pt>
                <c:pt idx="6">
                  <c:v>0.001584078950734973</c:v>
                </c:pt>
                <c:pt idx="7">
                  <c:v>0.0037758652989624305</c:v>
                </c:pt>
                <c:pt idx="8">
                  <c:v>0.0061696871108095136</c:v>
                </c:pt>
                <c:pt idx="9">
                  <c:v>0.004154540568481632</c:v>
                </c:pt>
                <c:pt idx="10">
                  <c:v>0.00497246482149595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8223915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6390285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896767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5470256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6334594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5448555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1059012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2910060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1536390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9536474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2397971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5660797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54736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0256864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5361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0965363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8321051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372486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1969946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410561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927622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082321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6416649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940507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566957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18664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492073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5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